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6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28"/>
  </p:notesMasterIdLst>
  <p:sldIdLst>
    <p:sldId id="307" r:id="rId3"/>
    <p:sldId id="308" r:id="rId4"/>
    <p:sldId id="332" r:id="rId5"/>
    <p:sldId id="258" r:id="rId6"/>
    <p:sldId id="321" r:id="rId7"/>
    <p:sldId id="301" r:id="rId8"/>
    <p:sldId id="327" r:id="rId9"/>
    <p:sldId id="338" r:id="rId10"/>
    <p:sldId id="275" r:id="rId11"/>
    <p:sldId id="306" r:id="rId12"/>
    <p:sldId id="328" r:id="rId13"/>
    <p:sldId id="320" r:id="rId14"/>
    <p:sldId id="330" r:id="rId15"/>
    <p:sldId id="331" r:id="rId16"/>
    <p:sldId id="342" r:id="rId17"/>
    <p:sldId id="343" r:id="rId18"/>
    <p:sldId id="344" r:id="rId19"/>
    <p:sldId id="333" r:id="rId20"/>
    <p:sldId id="267" r:id="rId21"/>
    <p:sldId id="335" r:id="rId22"/>
    <p:sldId id="309" r:id="rId23"/>
    <p:sldId id="322" r:id="rId24"/>
    <p:sldId id="323" r:id="rId25"/>
    <p:sldId id="329" r:id="rId26"/>
    <p:sldId id="318" r:id="rId2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09" autoAdjust="0"/>
    <p:restoredTop sz="94434" autoAdjust="0"/>
  </p:normalViewPr>
  <p:slideViewPr>
    <p:cSldViewPr>
      <p:cViewPr varScale="1">
        <p:scale>
          <a:sx n="70" d="100"/>
          <a:sy n="70" d="100"/>
        </p:scale>
        <p:origin x="1374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9198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/>
      <dgm:spPr/>
      <dgm:t>
        <a:bodyPr/>
        <a:lstStyle/>
        <a:p>
          <a:r>
            <a:rPr lang="en-IN" dirty="0" smtClean="0"/>
            <a:t>HBMS</a:t>
          </a:r>
          <a:endParaRPr lang="en-IN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/>
      <dgm:spPr/>
      <dgm:t>
        <a:bodyPr/>
        <a:lstStyle/>
        <a:p>
          <a:r>
            <a:rPr lang="en-IN" dirty="0" smtClean="0"/>
            <a:t>Employee</a:t>
          </a:r>
          <a:endParaRPr lang="en-IN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BD9EE668-1606-4F7E-A7BD-8FEDCB65A7D4}">
      <dgm:prSet phldrT="[Text]"/>
      <dgm:spPr/>
      <dgm:t>
        <a:bodyPr/>
        <a:lstStyle/>
        <a:p>
          <a:r>
            <a:rPr lang="en-IN" dirty="0" smtClean="0"/>
            <a:t>Customer</a:t>
          </a:r>
          <a:endParaRPr lang="en-IN" dirty="0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LinFactNeighborX="2655" custLinFactNeighborY="-71522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2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2" custRadScaleRad="70211" custRadScaleInc="-1571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2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2" custRadScaleRad="87723" custRadScaleInc="21110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5CA25F12-CF8D-4F50-8EF2-BA4DA19D12FE}" type="presOf" srcId="{BD9EE668-1606-4F7E-A7BD-8FEDCB65A7D4}" destId="{A7DF65F0-E58E-443E-9565-BE0026763C32}" srcOrd="0" destOrd="0" presId="urn:microsoft.com/office/officeart/2005/8/layout/radial4"/>
    <dgm:cxn modelId="{4FBE72A9-F605-42C4-961F-1DB19EC3BAD0}" type="presOf" srcId="{D0C8E95D-CA20-4230-90CD-01C12FD442EB}" destId="{3BC5D919-0D36-4BCD-8CBA-4FD7223A2EAB}" srcOrd="0" destOrd="0" presId="urn:microsoft.com/office/officeart/2005/8/layout/radial4"/>
    <dgm:cxn modelId="{8EC22962-EC8F-4928-B2AA-2734628AFE8D}" type="presOf" srcId="{05DB67F3-24D5-493F-B8D6-D9EFCA9C33FA}" destId="{BC821710-D8D6-44B3-AE70-1FB80AE0FF86}" srcOrd="0" destOrd="0" presId="urn:microsoft.com/office/officeart/2005/8/layout/radial4"/>
    <dgm:cxn modelId="{B9A49402-5DEF-4DEC-893D-298D171DDD76}" type="presOf" srcId="{27810326-169A-46D3-BDD9-A7895E48CE8E}" destId="{6C299B1E-FF91-4041-B597-AC7D7E336DDB}" srcOrd="0" destOrd="0" presId="urn:microsoft.com/office/officeart/2005/8/layout/radial4"/>
    <dgm:cxn modelId="{C8FE8C33-F053-4F72-A679-865A20ADC25A}" srcId="{A1BA4038-8694-4208-86E4-E637D37487CE}" destId="{1519598A-C7D9-41F3-AD4D-D2A98F8597F0}" srcOrd="1" destOrd="0" parTransId="{490C96F4-303B-442C-AFC2-3E90B07DFEFA}" sibTransId="{F8FB0056-87E2-4E3C-A2A0-79295F437154}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0048E817-F188-4456-A22D-C9FB59D3F8BD}" type="presOf" srcId="{A1BA4038-8694-4208-86E4-E637D37487CE}" destId="{F529A9FE-3A30-478D-8FB5-0EE20CF3B2CD}" srcOrd="0" destOrd="0" presId="urn:microsoft.com/office/officeart/2005/8/layout/radial4"/>
    <dgm:cxn modelId="{41F88A75-6E9E-4FDE-96F1-CBCB7D3029DF}" type="presOf" srcId="{5A7729A2-75B9-4FBC-8844-90F76B1D8C7E}" destId="{2A0F7F32-F42D-45CF-99FD-97CF4F1B69CF}" srcOrd="0" destOrd="0" presId="urn:microsoft.com/office/officeart/2005/8/layout/radial4"/>
    <dgm:cxn modelId="{DF99038D-AFC5-4BC8-8936-25587AE0C7F4}" type="presParOf" srcId="{F529A9FE-3A30-478D-8FB5-0EE20CF3B2CD}" destId="{2A0F7F32-F42D-45CF-99FD-97CF4F1B69CF}" srcOrd="0" destOrd="0" presId="urn:microsoft.com/office/officeart/2005/8/layout/radial4"/>
    <dgm:cxn modelId="{1BC62BC5-61DC-4AA2-8E02-E8E32C6C8CFD}" type="presParOf" srcId="{F529A9FE-3A30-478D-8FB5-0EE20CF3B2CD}" destId="{6C299B1E-FF91-4041-B597-AC7D7E336DDB}" srcOrd="1" destOrd="0" presId="urn:microsoft.com/office/officeart/2005/8/layout/radial4"/>
    <dgm:cxn modelId="{287A91C8-FDB0-4526-AE67-1A7792023EEB}" type="presParOf" srcId="{F529A9FE-3A30-478D-8FB5-0EE20CF3B2CD}" destId="{A7DF65F0-E58E-443E-9565-BE0026763C32}" srcOrd="2" destOrd="0" presId="urn:microsoft.com/office/officeart/2005/8/layout/radial4"/>
    <dgm:cxn modelId="{497FDD99-2DA6-48C4-BB00-6A4E84AE4860}" type="presParOf" srcId="{F529A9FE-3A30-478D-8FB5-0EE20CF3B2CD}" destId="{BC821710-D8D6-44B3-AE70-1FB80AE0FF86}" srcOrd="3" destOrd="0" presId="urn:microsoft.com/office/officeart/2005/8/layout/radial4"/>
    <dgm:cxn modelId="{D603F3DF-AFC1-4592-8D31-354EC6D1B5CD}" type="presParOf" srcId="{F529A9FE-3A30-478D-8FB5-0EE20CF3B2CD}" destId="{3BC5D919-0D36-4BCD-8CBA-4FD7223A2EAB}" srcOrd="4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m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fficiency 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9043" custLinFactNeighborY="-1503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77827008-6AA6-419E-9AC9-4029061E8D33}" type="presOf" srcId="{66487DD0-4D79-4180-AB81-B361B4FACE09}" destId="{B9ED2192-F917-4BE7-A6BE-813D7F382554}" srcOrd="0" destOrd="0" presId="urn:microsoft.com/office/officeart/2005/8/layout/vList2"/>
    <dgm:cxn modelId="{E9560A93-B640-4895-B3CD-468A15897000}" type="presOf" srcId="{528F3EA0-FF05-41BA-8D3E-F7B5C76FE089}" destId="{1C2747ED-0D77-4E6D-821C-76CAEE910644}" srcOrd="0" destOrd="0" presId="urn:microsoft.com/office/officeart/2005/8/layout/vList2"/>
    <dgm:cxn modelId="{843F4E2B-AC1D-41F2-B93A-EA449ABD71BC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89EBEEC7-6062-41D5-988B-9CCE651E068D}" type="presParOf" srcId="{B9ED2192-F917-4BE7-A6BE-813D7F382554}" destId="{1C2747ED-0D77-4E6D-821C-76CAEE910644}" srcOrd="0" destOrd="0" presId="urn:microsoft.com/office/officeart/2005/8/layout/vList2"/>
    <dgm:cxn modelId="{C9B4C065-A621-46ED-96E9-C2737931297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x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User specified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57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93DE3352-3A78-4F94-B7CD-E5428B54C622}" type="presOf" srcId="{528F3EA0-FF05-41BA-8D3E-F7B5C76FE089}" destId="{1C2747ED-0D77-4E6D-821C-76CAEE910644}" srcOrd="0" destOrd="0" presId="urn:microsoft.com/office/officeart/2005/8/layout/vList2"/>
    <dgm:cxn modelId="{5D187D98-C299-4CFF-A327-98F7DEFF663F}" type="presOf" srcId="{0BD08EE0-BF9E-4795-9B77-0FBE4D9C3FAA}" destId="{E5C0A0C3-950D-4232-9872-9174C1E989AA}" srcOrd="0" destOrd="0" presId="urn:microsoft.com/office/officeart/2005/8/layout/vList2"/>
    <dgm:cxn modelId="{989FF4FB-799B-419D-8CA7-AE2BCA3EBC3D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C74F28F-429D-4DC9-994E-CA461B22EF4E}" type="presParOf" srcId="{B9ED2192-F917-4BE7-A6BE-813D7F382554}" destId="{1C2747ED-0D77-4E6D-821C-76CAEE910644}" srcOrd="0" destOrd="0" presId="urn:microsoft.com/office/officeart/2005/8/layout/vList2"/>
    <dgm:cxn modelId="{40841C3C-7DC5-46E1-AE9D-9AA2BD0FC5CA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2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ecurit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For confidentialit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79055" custLinFactNeighborX="4000" custLinFactNeighborY="-3974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 custLinFactNeighborX="4000" custLinFactNeighborY="79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D91ABFB9-D9AF-44F4-9935-7A81B3CC4E9C}" type="presOf" srcId="{528F3EA0-FF05-41BA-8D3E-F7B5C76FE089}" destId="{1C2747ED-0D77-4E6D-821C-76CAEE910644}" srcOrd="0" destOrd="0" presId="urn:microsoft.com/office/officeart/2005/8/layout/vList2"/>
    <dgm:cxn modelId="{8D05B5A3-A52C-49CB-AC47-34D28D202284}" type="presOf" srcId="{0BD08EE0-BF9E-4795-9B77-0FBE4D9C3FAA}" destId="{E5C0A0C3-950D-4232-9872-9174C1E989AA}" srcOrd="0" destOrd="0" presId="urn:microsoft.com/office/officeart/2005/8/layout/vList2"/>
    <dgm:cxn modelId="{EDE97C2A-6470-4F1C-8DD5-243907CC22C2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DD5C37A0-6566-4DA6-86DA-8A0BF9459D27}" type="presParOf" srcId="{B9ED2192-F917-4BE7-A6BE-813D7F382554}" destId="{1C2747ED-0D77-4E6D-821C-76CAEE910644}" srcOrd="0" destOrd="0" presId="urn:microsoft.com/office/officeart/2005/8/layout/vList2"/>
    <dgm:cxn modelId="{8D7F3F70-13CF-4027-87B8-81E9C4D3BC5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/>
      <dgm:spPr/>
      <dgm:t>
        <a:bodyPr/>
        <a:lstStyle/>
        <a:p>
          <a:r>
            <a:rPr lang="en-IN" dirty="0" smtClean="0"/>
            <a:t>HBMS</a:t>
          </a:r>
          <a:endParaRPr lang="en-IN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/>
      <dgm:spPr/>
      <dgm:t>
        <a:bodyPr/>
        <a:lstStyle/>
        <a:p>
          <a:r>
            <a:rPr lang="en-IN" dirty="0" smtClean="0"/>
            <a:t>Admin</a:t>
          </a:r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C84695D3-AE9A-4501-A621-669274CEC8DD}">
      <dgm:prSet phldrT="[Text]"/>
      <dgm:spPr/>
      <dgm:t>
        <a:bodyPr/>
        <a:lstStyle/>
        <a:p>
          <a:endParaRPr lang="en-IN" dirty="0"/>
        </a:p>
      </dgm:t>
    </dgm:pt>
    <dgm:pt modelId="{D9E2EB92-0DA5-4648-A69C-26B82C1D0905}" type="parTrans" cxnId="{72E41019-23BD-42FC-BD37-03E9662C2428}">
      <dgm:prSet/>
      <dgm:spPr/>
      <dgm:t>
        <a:bodyPr/>
        <a:lstStyle/>
        <a:p>
          <a:endParaRPr lang="en-IN"/>
        </a:p>
      </dgm:t>
    </dgm:pt>
    <dgm:pt modelId="{75687ADF-CBCC-429E-B8E9-43F016C33414}" type="sibTrans" cxnId="{72E41019-23BD-42FC-BD37-03E9662C2428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5EE888C5-C142-4F81-927B-B90721C1F3E4}">
      <dgm:prSet phldrT="[Text]"/>
      <dgm:spPr/>
      <dgm:t>
        <a:bodyPr/>
        <a:lstStyle/>
        <a:p>
          <a:endParaRPr lang="en-IN" dirty="0"/>
        </a:p>
      </dgm:t>
    </dgm:pt>
    <dgm:pt modelId="{D363C5A8-91EB-4D75-8DC9-29E46A5D4A7F}" type="parTrans" cxnId="{E03982C5-3BDB-497A-BCA3-2DC08723031D}">
      <dgm:prSet/>
      <dgm:spPr/>
      <dgm:t>
        <a:bodyPr/>
        <a:lstStyle/>
        <a:p>
          <a:endParaRPr lang="en-US"/>
        </a:p>
      </dgm:t>
    </dgm:pt>
    <dgm:pt modelId="{0DA8AB2B-BB27-4A16-BCAC-A04684A9C39F}" type="sibTrans" cxnId="{E03982C5-3BDB-497A-BCA3-2DC08723031D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ScaleY="100000" custLinFactNeighborX="129" custLinFactNeighborY="-29355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1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1" custRadScaleRad="114974" custRadScaleInc="-5314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03982C5-3BDB-497A-BCA3-2DC08723031D}" srcId="{C84695D3-AE9A-4501-A621-669274CEC8DD}" destId="{5EE888C5-C142-4F81-927B-B90721C1F3E4}" srcOrd="0" destOrd="0" parTransId="{D363C5A8-91EB-4D75-8DC9-29E46A5D4A7F}" sibTransId="{0DA8AB2B-BB27-4A16-BCAC-A04684A9C39F}"/>
    <dgm:cxn modelId="{A20CEBA4-47ED-4952-996B-8BBB7A8F557D}" type="presOf" srcId="{5A7729A2-75B9-4FBC-8844-90F76B1D8C7E}" destId="{2A0F7F32-F42D-45CF-99FD-97CF4F1B69CF}" srcOrd="0" destOrd="0" presId="urn:microsoft.com/office/officeart/2005/8/layout/radial4"/>
    <dgm:cxn modelId="{72E41019-23BD-42FC-BD37-03E9662C2428}" srcId="{A1BA4038-8694-4208-86E4-E637D37487CE}" destId="{C84695D3-AE9A-4501-A621-669274CEC8DD}" srcOrd="1" destOrd="0" parTransId="{D9E2EB92-0DA5-4648-A69C-26B82C1D0905}" sibTransId="{75687ADF-CBCC-429E-B8E9-43F016C33414}"/>
    <dgm:cxn modelId="{C8FE8C33-F053-4F72-A679-865A20ADC25A}" srcId="{C84695D3-AE9A-4501-A621-669274CEC8DD}" destId="{1519598A-C7D9-41F3-AD4D-D2A98F8597F0}" srcOrd="1" destOrd="0" parTransId="{490C96F4-303B-442C-AFC2-3E90B07DFEFA}" sibTransId="{F8FB0056-87E2-4E3C-A2A0-79295F437154}"/>
    <dgm:cxn modelId="{C4B3E21E-5FEE-43E4-902D-553A911BC2F9}" type="presOf" srcId="{BD9EE668-1606-4F7E-A7BD-8FEDCB65A7D4}" destId="{A7DF65F0-E58E-443E-9565-BE0026763C32}" srcOrd="0" destOrd="0" presId="urn:microsoft.com/office/officeart/2005/8/layout/radial4"/>
    <dgm:cxn modelId="{56CB5D0A-DDF0-43C7-B907-75348E15C33F}" type="presOf" srcId="{A1BA4038-8694-4208-86E4-E637D37487CE}" destId="{F529A9FE-3A30-478D-8FB5-0EE20CF3B2CD}" srcOrd="0" destOrd="0" presId="urn:microsoft.com/office/officeart/2005/8/layout/radial4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7D7BFA6D-DDDE-4DC6-B450-BD1EF9D01C09}" type="presOf" srcId="{27810326-169A-46D3-BDD9-A7895E48CE8E}" destId="{6C299B1E-FF91-4041-B597-AC7D7E336DDB}" srcOrd="0" destOrd="0" presId="urn:microsoft.com/office/officeart/2005/8/layout/radial4"/>
    <dgm:cxn modelId="{BDFD953B-F1F8-402C-BC56-F5A463F85F4C}" type="presParOf" srcId="{F529A9FE-3A30-478D-8FB5-0EE20CF3B2CD}" destId="{2A0F7F32-F42D-45CF-99FD-97CF4F1B69CF}" srcOrd="0" destOrd="0" presId="urn:microsoft.com/office/officeart/2005/8/layout/radial4"/>
    <dgm:cxn modelId="{29270453-7B26-4D26-BBD6-4F5D36552D66}" type="presParOf" srcId="{F529A9FE-3A30-478D-8FB5-0EE20CF3B2CD}" destId="{6C299B1E-FF91-4041-B597-AC7D7E336DDB}" srcOrd="1" destOrd="0" presId="urn:microsoft.com/office/officeart/2005/8/layout/radial4"/>
    <dgm:cxn modelId="{124E0C94-5A10-4FCB-85DC-6BE67E465D47}" type="presParOf" srcId="{F529A9FE-3A30-478D-8FB5-0EE20CF3B2CD}" destId="{A7DF65F0-E58E-443E-9565-BE0026763C32}" srcOrd="2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/>
      <dgm:spPr/>
      <dgm:t>
        <a:bodyPr/>
        <a:lstStyle/>
        <a:p>
          <a:r>
            <a:rPr lang="en-IN" dirty="0" smtClean="0"/>
            <a:t>HBMS</a:t>
          </a:r>
          <a:endParaRPr lang="en-IN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/>
      <dgm:spPr/>
      <dgm:t>
        <a:bodyPr/>
        <a:lstStyle/>
        <a:p>
          <a:r>
            <a:rPr lang="en-IN" dirty="0" smtClean="0"/>
            <a:t>Customer</a:t>
          </a:r>
          <a:endParaRPr lang="en-IN" dirty="0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/>
      <dgm:spPr/>
      <dgm:t>
        <a:bodyPr/>
        <a:lstStyle/>
        <a:p>
          <a:r>
            <a:rPr lang="en-IN" dirty="0" smtClean="0"/>
            <a:t>Employee</a:t>
          </a:r>
          <a:endParaRPr lang="en-IN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LinFactNeighborX="0" custLinFactNeighborY="-34144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2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2" custScaleX="83101" custScaleY="67460" custRadScaleRad="73488" custRadScaleInc="-6519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2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2" custScaleX="103832" custScaleY="59987" custRadScaleRad="68296" custRadScaleInc="66057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B699A0F1-AE36-4A50-93F6-1E5DCB1DE0C9}" type="presOf" srcId="{A1BA4038-8694-4208-86E4-E637D37487CE}" destId="{F529A9FE-3A30-478D-8FB5-0EE20CF3B2CD}" srcOrd="0" destOrd="0" presId="urn:microsoft.com/office/officeart/2005/8/layout/radial4"/>
    <dgm:cxn modelId="{0F9A12B2-EB71-4349-BDFB-7A5B75DDC83C}" type="presOf" srcId="{27810326-169A-46D3-BDD9-A7895E48CE8E}" destId="{6C299B1E-FF91-4041-B597-AC7D7E336DDB}" srcOrd="0" destOrd="0" presId="urn:microsoft.com/office/officeart/2005/8/layout/radial4"/>
    <dgm:cxn modelId="{C8FE8C33-F053-4F72-A679-865A20ADC25A}" srcId="{A1BA4038-8694-4208-86E4-E637D37487CE}" destId="{1519598A-C7D9-41F3-AD4D-D2A98F8597F0}" srcOrd="1" destOrd="0" parTransId="{490C96F4-303B-442C-AFC2-3E90B07DFEFA}" sibTransId="{F8FB0056-87E2-4E3C-A2A0-79295F437154}"/>
    <dgm:cxn modelId="{9D001B1A-0DA0-4725-84E0-074EA2AB2753}" type="presOf" srcId="{5A7729A2-75B9-4FBC-8844-90F76B1D8C7E}" destId="{2A0F7F32-F42D-45CF-99FD-97CF4F1B69CF}" srcOrd="0" destOrd="0" presId="urn:microsoft.com/office/officeart/2005/8/layout/radial4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15DC294-07D4-40C3-8389-8785B261A60E}" type="presOf" srcId="{D0C8E95D-CA20-4230-90CD-01C12FD442EB}" destId="{3BC5D919-0D36-4BCD-8CBA-4FD7223A2EAB}" srcOrd="0" destOrd="0" presId="urn:microsoft.com/office/officeart/2005/8/layout/radial4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9CAFDF89-7DBF-4D1E-8590-13C8BB48E827}" type="presOf" srcId="{BD9EE668-1606-4F7E-A7BD-8FEDCB65A7D4}" destId="{A7DF65F0-E58E-443E-9565-BE0026763C32}" srcOrd="0" destOrd="0" presId="urn:microsoft.com/office/officeart/2005/8/layout/radial4"/>
    <dgm:cxn modelId="{65385257-D51F-4D9C-82C9-C1D946E26E78}" type="presOf" srcId="{05DB67F3-24D5-493F-B8D6-D9EFCA9C33FA}" destId="{BC821710-D8D6-44B3-AE70-1FB80AE0FF86}" srcOrd="0" destOrd="0" presId="urn:microsoft.com/office/officeart/2005/8/layout/radial4"/>
    <dgm:cxn modelId="{10155EC5-56F4-4DE1-BCF6-CDF6777B8875}" type="presParOf" srcId="{F529A9FE-3A30-478D-8FB5-0EE20CF3B2CD}" destId="{2A0F7F32-F42D-45CF-99FD-97CF4F1B69CF}" srcOrd="0" destOrd="0" presId="urn:microsoft.com/office/officeart/2005/8/layout/radial4"/>
    <dgm:cxn modelId="{83DE41DB-5708-4E97-9874-9383C277B95B}" type="presParOf" srcId="{F529A9FE-3A30-478D-8FB5-0EE20CF3B2CD}" destId="{6C299B1E-FF91-4041-B597-AC7D7E336DDB}" srcOrd="1" destOrd="0" presId="urn:microsoft.com/office/officeart/2005/8/layout/radial4"/>
    <dgm:cxn modelId="{E9CB0946-CFD5-4417-8F7F-F74187E45902}" type="presParOf" srcId="{F529A9FE-3A30-478D-8FB5-0EE20CF3B2CD}" destId="{A7DF65F0-E58E-443E-9565-BE0026763C32}" srcOrd="2" destOrd="0" presId="urn:microsoft.com/office/officeart/2005/8/layout/radial4"/>
    <dgm:cxn modelId="{F3952F5F-CBE8-4BAE-A5FF-44EAD5C50C1D}" type="presParOf" srcId="{F529A9FE-3A30-478D-8FB5-0EE20CF3B2CD}" destId="{BC821710-D8D6-44B3-AE70-1FB80AE0FF86}" srcOrd="3" destOrd="0" presId="urn:microsoft.com/office/officeart/2005/8/layout/radial4"/>
    <dgm:cxn modelId="{F72043FE-76E8-4165-B5A4-F683122995C9}" type="presParOf" srcId="{F529A9FE-3A30-478D-8FB5-0EE20CF3B2CD}" destId="{3BC5D919-0D36-4BCD-8CBA-4FD7223A2EAB}" srcOrd="4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File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orage of information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875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B8432A1A-823A-425F-8772-7205F288A978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B5830F3E-BC9E-4115-966C-5BF894773023}" type="presOf" srcId="{0BD08EE0-BF9E-4795-9B77-0FBE4D9C3FAA}" destId="{E5C0A0C3-950D-4232-9872-9174C1E989AA}" srcOrd="0" destOrd="0" presId="urn:microsoft.com/office/officeart/2005/8/layout/vList2"/>
    <dgm:cxn modelId="{4E4910E4-E4C4-4FBB-8292-909BEB45174B}" type="presOf" srcId="{528F3EA0-FF05-41BA-8D3E-F7B5C76FE089}" destId="{1C2747ED-0D77-4E6D-821C-76CAEE910644}" srcOrd="0" destOrd="0" presId="urn:microsoft.com/office/officeart/2005/8/layout/vList2"/>
    <dgm:cxn modelId="{0B4E18BF-9764-4F1D-8E6D-CFBF87DC49E1}" type="presParOf" srcId="{B9ED2192-F917-4BE7-A6BE-813D7F382554}" destId="{1C2747ED-0D77-4E6D-821C-76CAEE910644}" srcOrd="0" destOrd="0" presId="urn:microsoft.com/office/officeart/2005/8/layout/vList2"/>
    <dgm:cxn modelId="{89BB07B3-BC0A-43D5-A358-2370E51CB9C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Quer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improvement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2803" custLinFactNeighborY="-13803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AD8AE850-DE88-47D4-8A3E-CDFEE2141164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A806F339-42D6-488F-B73B-C32784387D9E}" type="presOf" srcId="{0BD08EE0-BF9E-4795-9B77-0FBE4D9C3FAA}" destId="{E5C0A0C3-950D-4232-9872-9174C1E989AA}" srcOrd="0" destOrd="0" presId="urn:microsoft.com/office/officeart/2005/8/layout/vList2"/>
    <dgm:cxn modelId="{09F4A44D-A880-4E47-AE17-530D40517CCB}" type="presOf" srcId="{528F3EA0-FF05-41BA-8D3E-F7B5C76FE089}" destId="{1C2747ED-0D77-4E6D-821C-76CAEE910644}" srcOrd="0" destOrd="0" presId="urn:microsoft.com/office/officeart/2005/8/layout/vList2"/>
    <dgm:cxn modelId="{09639F89-33C6-4CEE-B618-8F4A6C926E34}" type="presParOf" srcId="{B9ED2192-F917-4BE7-A6BE-813D7F382554}" destId="{1C2747ED-0D77-4E6D-821C-76CAEE910644}" srcOrd="0" destOrd="0" presId="urn:microsoft.com/office/officeart/2005/8/layout/vList2"/>
    <dgm:cxn modelId="{9D48C332-60F8-498A-A8D0-A83B0DEB43AD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rror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consistenc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31053" custLinFactNeighborY="-11961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4C39FBC-6033-4124-8AB4-5C59E650AB66}" type="presOf" srcId="{528F3EA0-FF05-41BA-8D3E-F7B5C76FE089}" destId="{1C2747ED-0D77-4E6D-821C-76CAEE910644}" srcOrd="0" destOrd="0" presId="urn:microsoft.com/office/officeart/2005/8/layout/vList2"/>
    <dgm:cxn modelId="{BC561092-4E2B-4670-86CE-E71839A297AE}" type="presOf" srcId="{66487DD0-4D79-4180-AB81-B361B4FACE09}" destId="{B9ED2192-F917-4BE7-A6BE-813D7F382554}" srcOrd="0" destOrd="0" presId="urn:microsoft.com/office/officeart/2005/8/layout/vList2"/>
    <dgm:cxn modelId="{765B1C9F-2A09-401B-AC9F-443E4FF6A5CA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65BFDB75-162C-4FC0-BFC8-D4999C51CAC6}" type="presParOf" srcId="{B9ED2192-F917-4BE7-A6BE-813D7F382554}" destId="{1C2747ED-0D77-4E6D-821C-76CAEE910644}" srcOrd="0" destOrd="0" presId="urn:microsoft.com/office/officeart/2005/8/layout/vList2"/>
    <dgm:cxn modelId="{57488682-8DA0-403F-80E4-D1E2CAB4071E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ystem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Minimum specification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-2169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89B27D9D-F90A-4C43-9602-2BB5FC002FA2}" type="presOf" srcId="{0BD08EE0-BF9E-4795-9B77-0FBE4D9C3FAA}" destId="{E5C0A0C3-950D-4232-9872-9174C1E989AA}" srcOrd="0" destOrd="0" presId="urn:microsoft.com/office/officeart/2005/8/layout/vList2"/>
    <dgm:cxn modelId="{6A5A7997-60E3-4B19-9B45-2F5D0B4C8CA1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96583044-F721-428D-8BB8-611BE716F13D}" type="presOf" srcId="{528F3EA0-FF05-41BA-8D3E-F7B5C76FE089}" destId="{1C2747ED-0D77-4E6D-821C-76CAEE910644}" srcOrd="0" destOrd="0" presId="urn:microsoft.com/office/officeart/2005/8/layout/vList2"/>
    <dgm:cxn modelId="{4D6538F3-4DC1-4DF7-B0FF-24A29F3DEBD0}" type="presParOf" srcId="{B9ED2192-F917-4BE7-A6BE-813D7F382554}" destId="{1C2747ED-0D77-4E6D-821C-76CAEE910644}" srcOrd="0" destOrd="0" presId="urn:microsoft.com/office/officeart/2005/8/layout/vList2"/>
    <dgm:cxn modelId="{666B91FE-00DA-4E8B-BD69-42572398D3C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nvoc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art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14A97BF4-84E4-470B-AB37-71905FC3E903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0592EC2-C7C2-473F-ABC4-22128D02E5EE}" type="presOf" srcId="{66487DD0-4D79-4180-AB81-B361B4FACE09}" destId="{B9ED2192-F917-4BE7-A6BE-813D7F382554}" srcOrd="0" destOrd="0" presId="urn:microsoft.com/office/officeart/2005/8/layout/vList2"/>
    <dgm:cxn modelId="{AD35A513-EB19-40C3-8B90-685FFA0E814E}" type="presOf" srcId="{0BD08EE0-BF9E-4795-9B77-0FBE4D9C3FAA}" destId="{E5C0A0C3-950D-4232-9872-9174C1E989AA}" srcOrd="0" destOrd="0" presId="urn:microsoft.com/office/officeart/2005/8/layout/vList2"/>
    <dgm:cxn modelId="{9FF28AB8-C731-4A85-A7FC-873C72BFF9DB}" type="presParOf" srcId="{B9ED2192-F917-4BE7-A6BE-813D7F382554}" destId="{1C2747ED-0D77-4E6D-821C-76CAEE910644}" srcOrd="0" destOrd="0" presId="urn:microsoft.com/office/officeart/2005/8/layout/vList2"/>
    <dgm:cxn modelId="{59F0DB47-D8AC-4F91-8650-35383D0FEA54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Termin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nd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7167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3D68D77-E432-4550-AC3B-5D08BCB7BD5F}" type="presOf" srcId="{66487DD0-4D79-4180-AB81-B361B4FACE09}" destId="{B9ED2192-F917-4BE7-A6BE-813D7F382554}" srcOrd="0" destOrd="0" presId="urn:microsoft.com/office/officeart/2005/8/layout/vList2"/>
    <dgm:cxn modelId="{3549CD3E-7C22-4C2E-A013-CF328024B98E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FDBDD394-AEE1-463E-ABF8-EAB288E3678C}" type="presOf" srcId="{528F3EA0-FF05-41BA-8D3E-F7B5C76FE089}" destId="{1C2747ED-0D77-4E6D-821C-76CAEE910644}" srcOrd="0" destOrd="0" presId="urn:microsoft.com/office/officeart/2005/8/layout/vList2"/>
    <dgm:cxn modelId="{78E808DC-54EE-4086-96B9-9988F69BD1BE}" type="presParOf" srcId="{B9ED2192-F917-4BE7-A6BE-813D7F382554}" destId="{1C2747ED-0D77-4E6D-821C-76CAEE910644}" srcOrd="0" destOrd="0" presId="urn:microsoft.com/office/officeart/2005/8/layout/vList2"/>
    <dgm:cxn modelId="{C82ED0AB-B79C-402D-89DA-1C005FB88C5B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10/24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641625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583760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10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10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October 24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5.xml"/><Relationship Id="rId13" Type="http://schemas.openxmlformats.org/officeDocument/2006/relationships/diagramData" Target="../diagrams/data6.xml"/><Relationship Id="rId18" Type="http://schemas.openxmlformats.org/officeDocument/2006/relationships/diagramData" Target="../diagrams/data7.xml"/><Relationship Id="rId26" Type="http://schemas.openxmlformats.org/officeDocument/2006/relationships/diagramColors" Target="../diagrams/colors8.xml"/><Relationship Id="rId39" Type="http://schemas.openxmlformats.org/officeDocument/2006/relationships/diagramLayout" Target="../diagrams/layout11.xml"/><Relationship Id="rId3" Type="http://schemas.openxmlformats.org/officeDocument/2006/relationships/diagramData" Target="../diagrams/data4.xml"/><Relationship Id="rId21" Type="http://schemas.openxmlformats.org/officeDocument/2006/relationships/diagramColors" Target="../diagrams/colors7.xml"/><Relationship Id="rId34" Type="http://schemas.openxmlformats.org/officeDocument/2006/relationships/diagramLayout" Target="../diagrams/layout10.xml"/><Relationship Id="rId42" Type="http://schemas.microsoft.com/office/2007/relationships/diagramDrawing" Target="../diagrams/drawing11.xml"/><Relationship Id="rId47" Type="http://schemas.microsoft.com/office/2007/relationships/diagramDrawing" Target="../diagrams/drawing12.xml"/><Relationship Id="rId7" Type="http://schemas.microsoft.com/office/2007/relationships/diagramDrawing" Target="../diagrams/drawing4.xml"/><Relationship Id="rId12" Type="http://schemas.microsoft.com/office/2007/relationships/diagramDrawing" Target="../diagrams/drawing5.xml"/><Relationship Id="rId17" Type="http://schemas.microsoft.com/office/2007/relationships/diagramDrawing" Target="../diagrams/drawing6.xml"/><Relationship Id="rId25" Type="http://schemas.openxmlformats.org/officeDocument/2006/relationships/diagramQuickStyle" Target="../diagrams/quickStyle8.xml"/><Relationship Id="rId33" Type="http://schemas.openxmlformats.org/officeDocument/2006/relationships/diagramData" Target="../diagrams/data10.xml"/><Relationship Id="rId38" Type="http://schemas.openxmlformats.org/officeDocument/2006/relationships/diagramData" Target="../diagrams/data11.xml"/><Relationship Id="rId46" Type="http://schemas.openxmlformats.org/officeDocument/2006/relationships/diagramColors" Target="../diagrams/colors12.xml"/><Relationship Id="rId2" Type="http://schemas.openxmlformats.org/officeDocument/2006/relationships/notesSlide" Target="../notesSlides/notesSlide6.xml"/><Relationship Id="rId16" Type="http://schemas.openxmlformats.org/officeDocument/2006/relationships/diagramColors" Target="../diagrams/colors6.xml"/><Relationship Id="rId20" Type="http://schemas.openxmlformats.org/officeDocument/2006/relationships/diagramQuickStyle" Target="../diagrams/quickStyle7.xml"/><Relationship Id="rId29" Type="http://schemas.openxmlformats.org/officeDocument/2006/relationships/diagramLayout" Target="../diagrams/layout9.xml"/><Relationship Id="rId41" Type="http://schemas.openxmlformats.org/officeDocument/2006/relationships/diagramColors" Target="../diagrams/colors11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4.xml"/><Relationship Id="rId11" Type="http://schemas.openxmlformats.org/officeDocument/2006/relationships/diagramColors" Target="../diagrams/colors5.xml"/><Relationship Id="rId24" Type="http://schemas.openxmlformats.org/officeDocument/2006/relationships/diagramLayout" Target="../diagrams/layout8.xml"/><Relationship Id="rId32" Type="http://schemas.microsoft.com/office/2007/relationships/diagramDrawing" Target="../diagrams/drawing9.xml"/><Relationship Id="rId37" Type="http://schemas.microsoft.com/office/2007/relationships/diagramDrawing" Target="../diagrams/drawing10.xml"/><Relationship Id="rId40" Type="http://schemas.openxmlformats.org/officeDocument/2006/relationships/diagramQuickStyle" Target="../diagrams/quickStyle11.xml"/><Relationship Id="rId45" Type="http://schemas.openxmlformats.org/officeDocument/2006/relationships/diagramQuickStyle" Target="../diagrams/quickStyle12.xml"/><Relationship Id="rId5" Type="http://schemas.openxmlformats.org/officeDocument/2006/relationships/diagramQuickStyle" Target="../diagrams/quickStyle4.xml"/><Relationship Id="rId15" Type="http://schemas.openxmlformats.org/officeDocument/2006/relationships/diagramQuickStyle" Target="../diagrams/quickStyle6.xml"/><Relationship Id="rId23" Type="http://schemas.openxmlformats.org/officeDocument/2006/relationships/diagramData" Target="../diagrams/data8.xml"/><Relationship Id="rId28" Type="http://schemas.openxmlformats.org/officeDocument/2006/relationships/diagramData" Target="../diagrams/data9.xml"/><Relationship Id="rId36" Type="http://schemas.openxmlformats.org/officeDocument/2006/relationships/diagramColors" Target="../diagrams/colors10.xml"/><Relationship Id="rId10" Type="http://schemas.openxmlformats.org/officeDocument/2006/relationships/diagramQuickStyle" Target="../diagrams/quickStyle5.xml"/><Relationship Id="rId19" Type="http://schemas.openxmlformats.org/officeDocument/2006/relationships/diagramLayout" Target="../diagrams/layout7.xml"/><Relationship Id="rId31" Type="http://schemas.openxmlformats.org/officeDocument/2006/relationships/diagramColors" Target="../diagrams/colors9.xml"/><Relationship Id="rId44" Type="http://schemas.openxmlformats.org/officeDocument/2006/relationships/diagramLayout" Target="../diagrams/layout12.xml"/><Relationship Id="rId4" Type="http://schemas.openxmlformats.org/officeDocument/2006/relationships/diagramLayout" Target="../diagrams/layout4.xml"/><Relationship Id="rId9" Type="http://schemas.openxmlformats.org/officeDocument/2006/relationships/diagramLayout" Target="../diagrams/layout5.xml"/><Relationship Id="rId14" Type="http://schemas.openxmlformats.org/officeDocument/2006/relationships/diagramLayout" Target="../diagrams/layout6.xml"/><Relationship Id="rId22" Type="http://schemas.microsoft.com/office/2007/relationships/diagramDrawing" Target="../diagrams/drawing7.xml"/><Relationship Id="rId27" Type="http://schemas.microsoft.com/office/2007/relationships/diagramDrawing" Target="../diagrams/drawing8.xml"/><Relationship Id="rId30" Type="http://schemas.openxmlformats.org/officeDocument/2006/relationships/diagramQuickStyle" Target="../diagrams/quickStyle9.xml"/><Relationship Id="rId35" Type="http://schemas.openxmlformats.org/officeDocument/2006/relationships/diagramQuickStyle" Target="../diagrams/quickStyle10.xml"/><Relationship Id="rId43" Type="http://schemas.openxmlformats.org/officeDocument/2006/relationships/diagramData" Target="../diagrams/data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Deliverables/usecase/search.docx" TargetMode="External"/><Relationship Id="rId3" Type="http://schemas.openxmlformats.org/officeDocument/2006/relationships/hyperlink" Target="AMS_ManagerLogin.docx" TargetMode="External"/><Relationship Id="rId7" Type="http://schemas.openxmlformats.org/officeDocument/2006/relationships/hyperlink" Target="Deliverables/usecase/book.docx" TargetMode="External"/><Relationship Id="rId2" Type="http://schemas.openxmlformats.org/officeDocument/2006/relationships/hyperlink" Target="Deliverables/usecase/Registration.docx" TargetMode="External"/><Relationship Id="rId1" Type="http://schemas.openxmlformats.org/officeDocument/2006/relationships/slideLayout" Target="../slideLayouts/slideLayout13.xml"/><Relationship Id="rId6" Type="http://schemas.openxmlformats.org/officeDocument/2006/relationships/hyperlink" Target="Deliverables/usecase/update%20hotel.docx" TargetMode="External"/><Relationship Id="rId5" Type="http://schemas.openxmlformats.org/officeDocument/2006/relationships/hyperlink" Target="Deliverables/usecase/Add%20hotel.docx" TargetMode="External"/><Relationship Id="rId4" Type="http://schemas.openxmlformats.org/officeDocument/2006/relationships/hyperlink" Target="Deliverables/usecase/login.docx" TargetMode="Externa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Deliverables/Defect%20Report%20Mini%20Project.xlsx" TargetMode="Externa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://ndafile:8081/Spring_Hotel/login.html" TargetMode="Externa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microsoft.com/office/2007/relationships/diagramDrawing" Target="../diagrams/drawing2.xml"/><Relationship Id="rId3" Type="http://schemas.openxmlformats.org/officeDocument/2006/relationships/hyperlink" Target="Deliverables/HMS%20Test%20Case.xlsx" TargetMode="External"/><Relationship Id="rId7" Type="http://schemas.openxmlformats.org/officeDocument/2006/relationships/diagramColors" Target="../diagrams/colors1.xml"/><Relationship Id="rId12" Type="http://schemas.openxmlformats.org/officeDocument/2006/relationships/diagramColors" Target="../diagrams/colors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diagramQuickStyle" Target="../diagrams/quickStyle1.xml"/><Relationship Id="rId11" Type="http://schemas.openxmlformats.org/officeDocument/2006/relationships/diagramQuickStyle" Target="../diagrams/quickStyle2.xml"/><Relationship Id="rId5" Type="http://schemas.openxmlformats.org/officeDocument/2006/relationships/diagramLayout" Target="../diagrams/layout1.xml"/><Relationship Id="rId10" Type="http://schemas.openxmlformats.org/officeDocument/2006/relationships/diagramLayout" Target="../diagrams/layout2.xml"/><Relationship Id="rId4" Type="http://schemas.openxmlformats.org/officeDocument/2006/relationships/diagramData" Target="../diagrams/data1.xml"/><Relationship Id="rId9" Type="http://schemas.openxmlformats.org/officeDocument/2006/relationships/diagramData" Target="../diagrams/data2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hyperlink" Target="Deliverables/HMS%20Test%20Case.xlsx" TargetMode="External"/><Relationship Id="rId7" Type="http://schemas.openxmlformats.org/officeDocument/2006/relationships/diagramColors" Target="../diagrams/colors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Deliverables/RVFD%20for%20Hotel%20booking%20management%20system.xlsx" TargetMode="Externa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155575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Hotel Booking Management 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638948" y="362977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s Validation And Functional Decomposition</a:t>
            </a:r>
            <a:endParaRPr lang="en-IN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869207828"/>
              </p:ext>
            </p:extLst>
          </p:nvPr>
        </p:nvGraphicFramePr>
        <p:xfrm>
          <a:off x="4648200" y="1066799"/>
          <a:ext cx="1905000" cy="12458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431537518"/>
              </p:ext>
            </p:extLst>
          </p:nvPr>
        </p:nvGraphicFramePr>
        <p:xfrm>
          <a:off x="762000" y="4953000"/>
          <a:ext cx="2209800" cy="152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552712535"/>
              </p:ext>
            </p:extLst>
          </p:nvPr>
        </p:nvGraphicFramePr>
        <p:xfrm>
          <a:off x="3581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416433548"/>
              </p:ext>
            </p:extLst>
          </p:nvPr>
        </p:nvGraphicFramePr>
        <p:xfrm>
          <a:off x="304800" y="35211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249288730"/>
              </p:ext>
            </p:extLst>
          </p:nvPr>
        </p:nvGraphicFramePr>
        <p:xfrm>
          <a:off x="3048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444857622"/>
              </p:ext>
            </p:extLst>
          </p:nvPr>
        </p:nvGraphicFramePr>
        <p:xfrm>
          <a:off x="2400300" y="1066800"/>
          <a:ext cx="1905000" cy="106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684257087"/>
              </p:ext>
            </p:extLst>
          </p:nvPr>
        </p:nvGraphicFramePr>
        <p:xfrm>
          <a:off x="68580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619113940"/>
              </p:ext>
            </p:extLst>
          </p:nvPr>
        </p:nvGraphicFramePr>
        <p:xfrm>
          <a:off x="6858000" y="3439235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" r:lo="rId39" r:qs="rId40" r:cs="rId41"/>
          </a:graphicData>
        </a:graphic>
      </p:graphicFrame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2164186853"/>
              </p:ext>
            </p:extLst>
          </p:nvPr>
        </p:nvGraphicFramePr>
        <p:xfrm>
          <a:off x="6248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3" r:lo="rId44" r:qs="rId45" r:cs="rId46"/>
          </a:graphicData>
        </a:graphic>
      </p:graphicFrame>
      <p:sp>
        <p:nvSpPr>
          <p:cNvPr id="14" name="Oval 13"/>
          <p:cNvSpPr/>
          <p:nvPr/>
        </p:nvSpPr>
        <p:spPr>
          <a:xfrm>
            <a:off x="3599597" y="2655058"/>
            <a:ext cx="1447800" cy="152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VFD</a:t>
            </a:r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4518334" y="2017594"/>
            <a:ext cx="240469" cy="7415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V="1">
            <a:off x="4933097" y="2523220"/>
            <a:ext cx="1313597" cy="4909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4" idx="6"/>
          </p:cNvCxnSpPr>
          <p:nvPr/>
        </p:nvCxnSpPr>
        <p:spPr>
          <a:xfrm>
            <a:off x="5047397" y="3417058"/>
            <a:ext cx="1714500" cy="1040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4938073" y="3796442"/>
            <a:ext cx="1310327" cy="10200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14" idx="4"/>
          </p:cNvCxnSpPr>
          <p:nvPr/>
        </p:nvCxnSpPr>
        <p:spPr>
          <a:xfrm>
            <a:off x="4323497" y="4179058"/>
            <a:ext cx="0" cy="9263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 flipH="1">
            <a:off x="2684380" y="4023815"/>
            <a:ext cx="1184441" cy="10184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flipH="1">
            <a:off x="2271109" y="3521122"/>
            <a:ext cx="1310291" cy="2753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 flipV="1">
            <a:off x="2400301" y="2655059"/>
            <a:ext cx="1266398" cy="4334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 flipH="1" flipV="1">
            <a:off x="3647650" y="2178808"/>
            <a:ext cx="372753" cy="537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70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0" dirty="0">
                <a:solidFill>
                  <a:schemeClr val="tx1"/>
                </a:solidFill>
              </a:rPr>
              <a:t>A use case is a methodology used in system analysis to identify, clarify, and organize system requirement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r>
              <a:rPr lang="en-US" sz="2400" b="0" dirty="0">
                <a:solidFill>
                  <a:schemeClr val="tx1"/>
                </a:solidFill>
              </a:rPr>
              <a:t>The use case is made up of a set of possible sequences of interactions between systems and users in a particular environment and related to a particular goal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A use case can be thought of as a collection of possible scenarios related to a particular goal, indeed, the use case and goal are sometimes considered to be synonymous.</a:t>
            </a:r>
          </a:p>
        </p:txBody>
      </p:sp>
    </p:spTree>
    <p:extLst>
      <p:ext uri="{BB962C8B-B14F-4D97-AF65-F5344CB8AC3E}">
        <p14:creationId xmlns:p14="http://schemas.microsoft.com/office/powerpoint/2010/main" val="304999630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756" y="89316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33460" y="1029741"/>
            <a:ext cx="526419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egistration Use Case Diagram</a:t>
            </a:r>
            <a:endParaRPr lang="en-US" sz="32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6" name="Picture 5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" y="1514679"/>
            <a:ext cx="7697470" cy="4352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518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8750" y="2110581"/>
            <a:ext cx="6286500" cy="3505200"/>
          </a:xfrm>
        </p:spPr>
      </p:pic>
      <p:sp>
        <p:nvSpPr>
          <p:cNvPr id="5" name="Rectangle 4"/>
          <p:cNvSpPr/>
          <p:nvPr/>
        </p:nvSpPr>
        <p:spPr>
          <a:xfrm>
            <a:off x="1443264" y="1187251"/>
            <a:ext cx="6024335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ogin Use case Diagram</a:t>
            </a:r>
            <a:endParaRPr lang="en-US" sz="32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8190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21266"/>
            <a:ext cx="8229600" cy="792162"/>
          </a:xfrm>
        </p:spPr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2612" y="2038507"/>
            <a:ext cx="4676775" cy="345757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162984" y="1115437"/>
            <a:ext cx="6585457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Hotel/Room Search Use Case Diagram</a:t>
            </a:r>
            <a:endParaRPr lang="en-US" sz="32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820229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21266"/>
            <a:ext cx="8229600" cy="792162"/>
          </a:xfrm>
        </p:spPr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1391709" y="1115437"/>
            <a:ext cx="6128024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Hotel Room Book Use case Diagram</a:t>
            </a:r>
            <a:endParaRPr lang="en-US" sz="32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876" y="2209800"/>
            <a:ext cx="6766594" cy="355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372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21266"/>
            <a:ext cx="8229600" cy="792162"/>
          </a:xfrm>
        </p:spPr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2286000" y="1079151"/>
            <a:ext cx="4887685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dd Hotel Use case Diagram</a:t>
            </a:r>
            <a:endParaRPr lang="en-US" sz="32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972" y="1663926"/>
            <a:ext cx="6904056" cy="48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528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21266"/>
            <a:ext cx="8229600" cy="792162"/>
          </a:xfrm>
        </p:spPr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1733856" y="1115437"/>
            <a:ext cx="5443734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Update Hotel Use case Diagram</a:t>
            </a:r>
            <a:endParaRPr lang="en-US" sz="32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707469"/>
            <a:ext cx="7274599" cy="4376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134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ASE HYPERLIN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Registration</a:t>
            </a: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hlinkClick r:id="rId2" action="ppaction://hlinkfile"/>
              </a:rPr>
              <a:t>HBMS Registration</a:t>
            </a:r>
            <a:endParaRPr lang="en-US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Login:</a:t>
            </a:r>
            <a:endParaRPr lang="en-US" dirty="0" smtClean="0">
              <a:solidFill>
                <a:schemeClr val="tx1"/>
              </a:solidFill>
              <a:hlinkClick r:id="rId3" action="ppaction://hlinkfile"/>
            </a:endParaRP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hlinkClick r:id="rId4" action="ppaction://hlinkfile"/>
              </a:rPr>
              <a:t>HBMS Login</a:t>
            </a:r>
            <a:endParaRPr lang="en-US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Add Hotel</a:t>
            </a:r>
          </a:p>
          <a:p>
            <a:pPr marL="0" indent="0">
              <a:buNone/>
            </a:pPr>
            <a:r>
              <a:rPr lang="en-US" b="0" dirty="0">
                <a:solidFill>
                  <a:schemeClr val="tx1"/>
                </a:solidFill>
                <a:hlinkClick r:id="rId5" action="ppaction://hlinkfile"/>
              </a:rPr>
              <a:t>HBMS </a:t>
            </a:r>
            <a:r>
              <a:rPr lang="en-US" b="0" dirty="0" smtClean="0">
                <a:solidFill>
                  <a:schemeClr val="tx1"/>
                </a:solidFill>
                <a:hlinkClick r:id="rId5" action="ppaction://hlinkfile"/>
              </a:rPr>
              <a:t>Add Hotel</a:t>
            </a:r>
            <a:endParaRPr lang="en-US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Update Hotel</a:t>
            </a: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hlinkClick r:id="rId6" action="ppaction://hlinkfile"/>
              </a:rPr>
              <a:t>HBMS Update Hotel</a:t>
            </a:r>
            <a:endParaRPr lang="en-US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Book Hotel</a:t>
            </a: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hlinkClick r:id="rId7" action="ppaction://hlinkfile"/>
              </a:rPr>
              <a:t>HBMS Booking</a:t>
            </a:r>
            <a:endParaRPr lang="en-US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Search Hotel</a:t>
            </a:r>
          </a:p>
          <a:p>
            <a:pPr marL="0" indent="0">
              <a:buNone/>
            </a:pPr>
            <a:r>
              <a:rPr lang="en-US" b="0" dirty="0">
                <a:solidFill>
                  <a:schemeClr val="tx1"/>
                </a:solidFill>
                <a:hlinkClick r:id="rId8" action="ppaction://hlinkfile"/>
              </a:rPr>
              <a:t>HBMS </a:t>
            </a:r>
            <a:r>
              <a:rPr lang="en-US" b="0" dirty="0" smtClean="0">
                <a:solidFill>
                  <a:schemeClr val="tx1"/>
                </a:solidFill>
                <a:hlinkClick r:id="rId8" action="ppaction://hlinkfile"/>
              </a:rPr>
              <a:t>Search</a:t>
            </a:r>
            <a:endParaRPr lang="en-US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84242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FDR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b="0" dirty="0">
                <a:solidFill>
                  <a:schemeClr val="tx1"/>
                </a:solidFill>
              </a:rPr>
              <a:t>A defect is an error or a bug, in the application that causes it to produce an incorrect or unexpected </a:t>
            </a:r>
            <a:r>
              <a:rPr lang="en-US" sz="2000" b="0" dirty="0" smtClean="0">
                <a:solidFill>
                  <a:schemeClr val="tx1"/>
                </a:solidFill>
              </a:rPr>
              <a:t>results. </a:t>
            </a:r>
          </a:p>
          <a:p>
            <a:r>
              <a:rPr lang="en-US" sz="2000" b="0" dirty="0" smtClean="0">
                <a:solidFill>
                  <a:schemeClr val="tx1"/>
                </a:solidFill>
              </a:rPr>
              <a:t>A </a:t>
            </a:r>
            <a:r>
              <a:rPr lang="en-US" sz="2000" b="0" dirty="0">
                <a:solidFill>
                  <a:schemeClr val="tx1"/>
                </a:solidFill>
              </a:rPr>
              <a:t>programmer while </a:t>
            </a:r>
            <a:r>
              <a:rPr lang="en-US" sz="2000" b="0" dirty="0" smtClean="0">
                <a:solidFill>
                  <a:schemeClr val="tx1"/>
                </a:solidFill>
              </a:rPr>
              <a:t>designing and </a:t>
            </a:r>
            <a:r>
              <a:rPr lang="en-US" sz="2000" b="0" dirty="0">
                <a:solidFill>
                  <a:schemeClr val="tx1"/>
                </a:solidFill>
              </a:rPr>
              <a:t>building the software can make mistake or error</a:t>
            </a:r>
            <a:r>
              <a:rPr lang="en-US" sz="20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000" b="0" dirty="0">
                <a:solidFill>
                  <a:schemeClr val="tx1"/>
                </a:solidFill>
              </a:rPr>
              <a:t>These mistakes or errors mean that there are flaws in the software, these are called defects and the report written for logging these defects is called a defect report</a:t>
            </a:r>
            <a:r>
              <a:rPr lang="en-US" sz="2000" b="0" dirty="0" smtClean="0">
                <a:solidFill>
                  <a:schemeClr val="tx1"/>
                </a:solidFill>
              </a:rPr>
              <a:t>.</a:t>
            </a: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</a:rPr>
              <a:t>LINK:	</a:t>
            </a:r>
            <a:r>
              <a:rPr lang="en-US" sz="2400" b="0" dirty="0" smtClean="0">
                <a:solidFill>
                  <a:schemeClr val="tx1"/>
                </a:solidFill>
                <a:hlinkClick r:id="rId2" action="ppaction://hlinkfile"/>
              </a:rPr>
              <a:t>HBMS Defect</a:t>
            </a:r>
            <a:endParaRPr lang="en-US" sz="2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9788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AM MEMBERS</a:t>
            </a:r>
            <a:endParaRPr lang="en-IN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IN" dirty="0" smtClean="0"/>
              <a:t>Kartik Kumar Singh (TL)</a:t>
            </a:r>
          </a:p>
          <a:p>
            <a:pPr marL="0" indent="0">
              <a:buNone/>
            </a:pPr>
            <a:r>
              <a:rPr lang="en-IN" dirty="0" err="1" smtClean="0"/>
              <a:t>Himanshu</a:t>
            </a:r>
            <a:r>
              <a:rPr lang="en-IN" dirty="0" smtClean="0"/>
              <a:t> </a:t>
            </a:r>
            <a:r>
              <a:rPr lang="en-IN" dirty="0" err="1" smtClean="0"/>
              <a:t>Kataria</a:t>
            </a:r>
            <a:r>
              <a:rPr lang="en-IN" dirty="0" smtClean="0"/>
              <a:t> </a:t>
            </a:r>
          </a:p>
          <a:p>
            <a:pPr marL="0" indent="0">
              <a:buNone/>
            </a:pPr>
            <a:r>
              <a:rPr lang="en-IN" dirty="0" err="1" smtClean="0"/>
              <a:t>Harshita</a:t>
            </a:r>
            <a:r>
              <a:rPr lang="en-IN" dirty="0" smtClean="0"/>
              <a:t> Ahuja</a:t>
            </a:r>
          </a:p>
          <a:p>
            <a:pPr marL="0" indent="0">
              <a:buNone/>
            </a:pPr>
            <a:r>
              <a:rPr lang="en-IN" dirty="0" err="1" smtClean="0"/>
              <a:t>Ijas</a:t>
            </a:r>
            <a:r>
              <a:rPr lang="en-IN" dirty="0" smtClean="0"/>
              <a:t> </a:t>
            </a:r>
            <a:r>
              <a:rPr lang="en-IN" smtClean="0"/>
              <a:t>Ahamed</a:t>
            </a:r>
            <a:endParaRPr lang="en-IN" dirty="0" smtClean="0"/>
          </a:p>
          <a:p>
            <a:pPr marL="0" indent="0">
              <a:buNone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FECTS FOUND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830763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en-US" sz="2400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sz="2400" b="0" dirty="0">
                <a:solidFill>
                  <a:schemeClr val="tx1"/>
                </a:solidFill>
              </a:rPr>
              <a:t>The Username field in the Login page is found to accept numbers and special character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b="0" dirty="0" smtClean="0">
                <a:solidFill>
                  <a:schemeClr val="tx1"/>
                </a:solidFill>
              </a:rPr>
              <a:t>The </a:t>
            </a:r>
            <a:r>
              <a:rPr lang="en-US" sz="2400" b="0" dirty="0">
                <a:solidFill>
                  <a:schemeClr val="tx1"/>
                </a:solidFill>
              </a:rPr>
              <a:t>Password field in the Login page is unable to accept numbers and special characters 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b="0" dirty="0">
                <a:solidFill>
                  <a:schemeClr val="tx1"/>
                </a:solidFill>
              </a:rPr>
              <a:t>The Login button in the Login page is unable to  verify for the existence of username in the database 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b="0" dirty="0">
                <a:solidFill>
                  <a:schemeClr val="tx1"/>
                </a:solidFill>
              </a:rPr>
              <a:t>The Login button in the Login page is unable to verify for the matching of password with the username entered by the user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b="0" dirty="0">
                <a:solidFill>
                  <a:schemeClr val="tx1"/>
                </a:solidFill>
              </a:rPr>
              <a:t>The Signup link in the Login page is unable to display the signup\register page for </a:t>
            </a:r>
            <a:r>
              <a:rPr lang="en-US" sz="2400" b="0" dirty="0" smtClean="0">
                <a:solidFill>
                  <a:schemeClr val="tx1"/>
                </a:solidFill>
              </a:rPr>
              <a:t>signing </a:t>
            </a:r>
            <a:r>
              <a:rPr lang="en-US" sz="2400" b="0" dirty="0">
                <a:solidFill>
                  <a:schemeClr val="tx1"/>
                </a:solidFill>
              </a:rPr>
              <a:t>up new user.</a:t>
            </a:r>
            <a:endParaRPr lang="en-US" sz="2400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sz="2400" b="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41185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4800" y="228600"/>
            <a:ext cx="8229600" cy="4572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200" b="1" dirty="0" smtClean="0">
                <a:latin typeface="Bookman Old Style" panose="02050604050505020204" pitchFamily="18" charset="0"/>
                <a:cs typeface="Times New Roman" panose="02020603050405020304" pitchFamily="18" charset="0"/>
              </a:rPr>
              <a:t>Application link</a:t>
            </a:r>
            <a:endParaRPr lang="en-IN" sz="3200" b="1" dirty="0">
              <a:latin typeface="Bookman Old Style" panose="020506040505050202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23649" y="1090281"/>
            <a:ext cx="8305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u="sng" dirty="0">
                <a:hlinkClick r:id="rId2"/>
              </a:rPr>
              <a:t>http://ndafile:8081/Spring_Hotel/login.html</a:t>
            </a:r>
            <a:endParaRPr lang="en-US" sz="2400" dirty="0"/>
          </a:p>
          <a:p>
            <a:endParaRPr lang="en-US" sz="24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6597" y="1600200"/>
            <a:ext cx="8442823" cy="441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544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Adequacy 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</a:rPr>
              <a:t>This defines the number of actual test cases created vs estimated test cases at the end of test case preparation phase. It is calculated </a:t>
            </a:r>
            <a:r>
              <a:rPr lang="en-US" sz="2400" b="0" dirty="0" smtClean="0">
                <a:solidFill>
                  <a:schemeClr val="tx1"/>
                </a:solidFill>
              </a:rPr>
              <a:t>as</a:t>
            </a:r>
            <a:endParaRPr lang="en-US" sz="2400" dirty="0"/>
          </a:p>
          <a:p>
            <a:pPr marL="0" indent="0">
              <a:buNone/>
            </a:pPr>
            <a:r>
              <a:rPr lang="en-US" sz="2400" b="0" dirty="0"/>
              <a:t/>
            </a:r>
            <a:br>
              <a:rPr lang="en-US" sz="2400" b="0" dirty="0"/>
            </a:b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est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ase Adequacy = No. of  actual Test cases*100/No.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stimated Test cases estimated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	=(159*100)/200</a:t>
            </a:r>
          </a:p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=79.5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706512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Effectivenes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/>
          </a:bodyPr>
          <a:lstStyle/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his metrics defines the effectiveness of the test cases which is measured in terms of the number of defects found in testing with using the test cases.</a:t>
            </a:r>
          </a:p>
          <a:p>
            <a:pPr algn="l"/>
            <a:endParaRPr lang="en-US" sz="2400" b="0" dirty="0">
              <a:solidFill>
                <a:schemeClr val="tx1"/>
              </a:solidFill>
              <a:cs typeface="Times New Roman" pitchFamily="18" charset="0"/>
            </a:endParaRPr>
          </a:p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 Effectiveness =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No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. of defects detected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using 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s*100)/total no of defects detected in testing</a:t>
            </a:r>
          </a:p>
          <a:p>
            <a:pPr lvl="2" algn="l"/>
            <a:r>
              <a:rPr lang="en-US" sz="1800" dirty="0">
                <a:solidFill>
                  <a:schemeClr val="tx1"/>
                </a:solidFill>
              </a:rPr>
              <a:t>	</a:t>
            </a:r>
            <a:r>
              <a:rPr lang="en-US" sz="1800" dirty="0" smtClean="0">
                <a:solidFill>
                  <a:schemeClr val="tx1"/>
                </a:solidFill>
              </a:rPr>
              <a:t>=(53*100)/70</a:t>
            </a:r>
          </a:p>
          <a:p>
            <a:pPr lvl="2" algn="l"/>
            <a:r>
              <a:rPr lang="en-US" sz="1800" b="0" dirty="0">
                <a:solidFill>
                  <a:schemeClr val="tx1"/>
                </a:solidFill>
              </a:rPr>
              <a:t>	</a:t>
            </a:r>
            <a:r>
              <a:rPr lang="en-US" sz="1800" b="0" dirty="0" smtClean="0">
                <a:solidFill>
                  <a:schemeClr val="tx1"/>
                </a:solidFill>
              </a:rPr>
              <a:t>=75.71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4692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762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Project Statistic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7782" y="1828800"/>
            <a:ext cx="82296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			= 143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Passed		</a:t>
            </a:r>
            <a:r>
              <a:rPr lang="en-US" sz="2400" b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= 73</a:t>
            </a: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Failed		= 70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fects Logged		= 70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Use Cases			= 6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61043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2183878" y="2514600"/>
            <a:ext cx="4776244" cy="120032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72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Bar dir="vert"/>
      </p:transition>
    </mc:Choice>
    <mc:Fallback xmlns="">
      <p:transition spd="slow">
        <p:randomBar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ENTS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OVERVIEW 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CTOR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REQUIREMENT ITEMIZATION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USE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DEFECT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PPLICATION LINK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ADEQUACY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EFFECTIVENES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PROJECT STATISTIC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RACEABALITY MATRIX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 smtClean="0"/>
          </a:p>
          <a:p>
            <a:pPr lvl="1">
              <a:buFont typeface="Wingdings" panose="05000000000000000000" pitchFamily="2" charset="2"/>
              <a:buChar char="q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0672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351" y="68264"/>
            <a:ext cx="8229600" cy="792162"/>
          </a:xfrm>
        </p:spPr>
        <p:txBody>
          <a:bodyPr/>
          <a:lstStyle/>
          <a:p>
            <a:pPr algn="ctr"/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VERVIEW OF THE PROJECT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918" y="1447800"/>
            <a:ext cx="8229600" cy="452596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Hotel Booking Management System is an online website, developed to provide services for booking rooms in hotel()</a:t>
            </a:r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CTORS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309918" y="1447800"/>
            <a:ext cx="8229600" cy="452596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Admin</a:t>
            </a:r>
          </a:p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Customer</a:t>
            </a:r>
          </a:p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Employee</a:t>
            </a:r>
          </a:p>
        </p:txBody>
      </p:sp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>
                <a:solidFill>
                  <a:schemeClr val="tx1"/>
                </a:solidFill>
              </a:rPr>
              <a:t>A test case is a set of conditions or variables under which a tester will determine whether a system under test satisfies requirements or works correctl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e process of developing test cases can also help find problems in the requirements or design of an application.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8684" y="152400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41193" y="176773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3830" y="5382961"/>
            <a:ext cx="7772400" cy="840978"/>
          </a:xfrm>
        </p:spPr>
        <p:txBody>
          <a:bodyPr>
            <a:normAutofit/>
          </a:bodyPr>
          <a:lstStyle/>
          <a:p>
            <a:r>
              <a:rPr lang="en-US" sz="2800" dirty="0" smtClean="0"/>
              <a:t>Link : </a:t>
            </a:r>
            <a:r>
              <a:rPr lang="en-US" sz="2800" b="0" dirty="0" smtClean="0">
                <a:hlinkClick r:id="rId3" action="ppaction://hlinkfile"/>
              </a:rPr>
              <a:t>HBMS  TEST cASE</a:t>
            </a:r>
            <a:endParaRPr lang="en-US" sz="2800" b="0" dirty="0"/>
          </a:p>
        </p:txBody>
      </p:sp>
      <p:sp>
        <p:nvSpPr>
          <p:cNvPr id="10" name="Conten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 </a:t>
            </a:r>
            <a:endParaRPr lang="en-US" dirty="0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2708834885"/>
              </p:ext>
            </p:extLst>
          </p:nvPr>
        </p:nvGraphicFramePr>
        <p:xfrm>
          <a:off x="5005386" y="2276872"/>
          <a:ext cx="3681413" cy="36667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986212" y="1326759"/>
            <a:ext cx="1828800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dirty="0" smtClean="0"/>
              <a:t>LOGIN</a:t>
            </a:r>
            <a:endParaRPr lang="en-IN" dirty="0"/>
          </a:p>
        </p:txBody>
      </p:sp>
      <p:cxnSp>
        <p:nvCxnSpPr>
          <p:cNvPr id="13" name="Straight Arrow Connector 12"/>
          <p:cNvCxnSpPr/>
          <p:nvPr/>
        </p:nvCxnSpPr>
        <p:spPr>
          <a:xfrm flipH="1">
            <a:off x="2819400" y="1688148"/>
            <a:ext cx="1976438" cy="1131252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12" idx="2"/>
            <a:endCxn id="11" idx="0"/>
          </p:cNvCxnSpPr>
          <p:nvPr/>
        </p:nvCxnSpPr>
        <p:spPr>
          <a:xfrm>
            <a:off x="4900612" y="1696091"/>
            <a:ext cx="1945480" cy="58078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4293070108"/>
              </p:ext>
            </p:extLst>
          </p:nvPr>
        </p:nvGraphicFramePr>
        <p:xfrm>
          <a:off x="1043609" y="2445190"/>
          <a:ext cx="3096344" cy="18220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324260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41193" y="176773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3830" y="5382961"/>
            <a:ext cx="7772400" cy="840978"/>
          </a:xfrm>
        </p:spPr>
        <p:txBody>
          <a:bodyPr>
            <a:normAutofit/>
          </a:bodyPr>
          <a:lstStyle/>
          <a:p>
            <a:r>
              <a:rPr lang="en-US" sz="2800" dirty="0" smtClean="0"/>
              <a:t>Link : </a:t>
            </a:r>
            <a:r>
              <a:rPr lang="en-US" sz="2800" b="0" dirty="0" smtClean="0">
                <a:hlinkClick r:id="rId3" action="ppaction://hlinkfile"/>
              </a:rPr>
              <a:t>HBMS  TEST cASE</a:t>
            </a:r>
            <a:endParaRPr lang="en-US" sz="2800" b="0" dirty="0"/>
          </a:p>
        </p:txBody>
      </p:sp>
      <p:sp>
        <p:nvSpPr>
          <p:cNvPr id="10" name="Conten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 </a:t>
            </a:r>
            <a:endParaRPr lang="en-US" dirty="0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2566222545"/>
              </p:ext>
            </p:extLst>
          </p:nvPr>
        </p:nvGraphicFramePr>
        <p:xfrm>
          <a:off x="2957512" y="2633203"/>
          <a:ext cx="4129088" cy="28348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986212" y="1326759"/>
            <a:ext cx="1828800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dirty="0" smtClean="0"/>
              <a:t>Registration</a:t>
            </a:r>
            <a:endParaRPr lang="en-IN" dirty="0"/>
          </a:p>
        </p:txBody>
      </p:sp>
      <p:cxnSp>
        <p:nvCxnSpPr>
          <p:cNvPr id="14" name="Straight Arrow Connector 13"/>
          <p:cNvCxnSpPr>
            <a:stCxn id="12" idx="2"/>
          </p:cNvCxnSpPr>
          <p:nvPr/>
        </p:nvCxnSpPr>
        <p:spPr>
          <a:xfrm>
            <a:off x="4900612" y="1696091"/>
            <a:ext cx="0" cy="60531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5273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  ITEMIZATION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 smtClean="0">
                <a:solidFill>
                  <a:schemeClr val="tx1"/>
                </a:solidFill>
              </a:rPr>
              <a:t>Requirements </a:t>
            </a:r>
            <a:r>
              <a:rPr lang="en-US" sz="2400" b="0" dirty="0">
                <a:solidFill>
                  <a:schemeClr val="tx1"/>
                </a:solidFill>
              </a:rPr>
              <a:t>validation is an iterative process which takes place throughout the lifecycle of the project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During elicitation, analysis and specification you should constantly be questioning and clarifying the data given to you in order to check its validit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is will ensure that the SRS that you produce is complete, consistent </a:t>
            </a:r>
            <a:r>
              <a:rPr lang="en-US" sz="2400" b="0" dirty="0" smtClean="0">
                <a:solidFill>
                  <a:schemeClr val="tx1"/>
                </a:solidFill>
              </a:rPr>
              <a:t>and </a:t>
            </a:r>
            <a:r>
              <a:rPr lang="en-US" sz="2400" b="0" dirty="0">
                <a:solidFill>
                  <a:schemeClr val="tx1"/>
                </a:solidFill>
              </a:rPr>
              <a:t>ready for the formal validation proces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endParaRPr lang="en-US" sz="2400" b="0" dirty="0" smtClean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Bookman Old Style" panose="02050604050505020204" pitchFamily="18" charset="0"/>
              </a:rPr>
              <a:t>LINK: </a:t>
            </a:r>
            <a:r>
              <a:rPr lang="en-US" sz="2400" b="0" dirty="0" smtClean="0">
                <a:solidFill>
                  <a:schemeClr val="tx1"/>
                </a:solidFill>
                <a:latin typeface="Bookman Old Style" panose="02050604050505020204" pitchFamily="18" charset="0"/>
                <a:hlinkClick r:id="rId2" action="ppaction://hlinkfile"/>
              </a:rPr>
              <a:t>HBMS RVFD</a:t>
            </a:r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15355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67</TotalTime>
  <Words>668</Words>
  <Application>Microsoft Office PowerPoint</Application>
  <PresentationFormat>On-screen Show (4:3)</PresentationFormat>
  <Paragraphs>141</Paragraphs>
  <Slides>25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5</vt:i4>
      </vt:variant>
    </vt:vector>
  </HeadingPairs>
  <TitlesOfParts>
    <vt:vector size="37" baseType="lpstr">
      <vt:lpstr>ＭＳ Ｐゴシック</vt:lpstr>
      <vt:lpstr>Arial</vt:lpstr>
      <vt:lpstr>Bookman Old Style</vt:lpstr>
      <vt:lpstr>Calibri</vt:lpstr>
      <vt:lpstr>Candara</vt:lpstr>
      <vt:lpstr>Century Gothic</vt:lpstr>
      <vt:lpstr>Courier New</vt:lpstr>
      <vt:lpstr>Palatino Linotype</vt:lpstr>
      <vt:lpstr>Times New Roman</vt:lpstr>
      <vt:lpstr>Wingdings</vt:lpstr>
      <vt:lpstr>Executive</vt:lpstr>
      <vt:lpstr>Office Theme</vt:lpstr>
      <vt:lpstr>PowerPoint Presentation</vt:lpstr>
      <vt:lpstr>TEAM MEMBERS</vt:lpstr>
      <vt:lpstr>CONTENTS</vt:lpstr>
      <vt:lpstr>OVERVIEW OF THE PROJECT</vt:lpstr>
      <vt:lpstr>ACTORS</vt:lpstr>
      <vt:lpstr>PowerPoint Presentation</vt:lpstr>
      <vt:lpstr>Link : HBMS  TEST cASE</vt:lpstr>
      <vt:lpstr>Link : HBMS  TEST cASE</vt:lpstr>
      <vt:lpstr>REQUIREMENT  ITEMIZATION</vt:lpstr>
      <vt:lpstr>PowerPoint Presentation</vt:lpstr>
      <vt:lpstr>USE CASES</vt:lpstr>
      <vt:lpstr>USE CASES</vt:lpstr>
      <vt:lpstr>USE CASE DIAGRAM</vt:lpstr>
      <vt:lpstr>USE CASE DIAGRAM</vt:lpstr>
      <vt:lpstr>USE CASE DIAGRAM</vt:lpstr>
      <vt:lpstr>USE CASE DIAGRAM</vt:lpstr>
      <vt:lpstr>USE CASE DIAGRAM</vt:lpstr>
      <vt:lpstr>USE CASE HYPERLINKS</vt:lpstr>
      <vt:lpstr>DFDR</vt:lpstr>
      <vt:lpstr>DEFECTS FOUND</vt:lpstr>
      <vt:lpstr>PowerPoint Presentation</vt:lpstr>
      <vt:lpstr>Test Case Adequacy </vt:lpstr>
      <vt:lpstr>Test Case Effectiveness</vt:lpstr>
      <vt:lpstr>Project Statistics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Singh, Kartik Kumar</cp:lastModifiedBy>
  <cp:revision>164</cp:revision>
  <dcterms:created xsi:type="dcterms:W3CDTF">2015-08-27T08:52:20Z</dcterms:created>
  <dcterms:modified xsi:type="dcterms:W3CDTF">2018-10-24T04:55:42Z</dcterms:modified>
</cp:coreProperties>
</file>